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charts/chart7.xml" ContentType="application/vnd.openxmlformats-officedocument.drawingml.chart+xml"/>
  <Override PartName="/ppt/tags/tag32.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4.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5.xml" ContentType="application/vnd.openxmlformats-officedocument.presentationml.tags+xml"/>
  <Override PartName="/ppt/charts/chart18.xml" ContentType="application/vnd.openxmlformats-officedocument.drawingml.chart+xml"/>
  <Override PartName="/ppt/tags/tag36.xml" ContentType="application/vnd.openxmlformats-officedocument.presentationml.tags+xml"/>
  <Override PartName="/ppt/charts/chart19.xml" ContentType="application/vnd.openxmlformats-officedocument.drawingml.chart+xml"/>
  <Override PartName="/ppt/tags/tag37.xml" ContentType="application/vnd.openxmlformats-officedocument.presentationml.tags+xml"/>
  <Override PartName="/ppt/charts/chart20.xml" ContentType="application/vnd.openxmlformats-officedocument.drawingml.chart+xml"/>
  <Override PartName="/ppt/tags/tag38.xml" ContentType="application/vnd.openxmlformats-officedocument.presentationml.tags+xml"/>
  <Override PartName="/ppt/charts/chart21.xml" ContentType="application/vnd.openxmlformats-officedocument.drawingml.chart+xml"/>
  <Override PartName="/ppt/tags/tag39.xml" ContentType="application/vnd.openxmlformats-officedocument.presentationml.tags+xml"/>
  <Override PartName="/ppt/charts/chart22.xml" ContentType="application/vnd.openxmlformats-officedocument.drawingml.chart+xml"/>
  <Override PartName="/ppt/tags/tag40.xml" ContentType="application/vnd.openxmlformats-officedocument.presentationml.tags+xml"/>
  <Override PartName="/ppt/charts/chart23.xml" ContentType="application/vnd.openxmlformats-officedocument.drawingml.chart+xml"/>
  <Override PartName="/ppt/tags/tag41.xml" ContentType="application/vnd.openxmlformats-officedocument.presentationml.tags+xml"/>
  <Override PartName="/ppt/charts/chart24.xml" ContentType="application/vnd.openxmlformats-officedocument.drawingml.chart+xml"/>
  <Override PartName="/ppt/tags/tag42.xml" ContentType="application/vnd.openxmlformats-officedocument.presentationml.tags+xml"/>
  <Override PartName="/ppt/charts/chart25.xml" ContentType="application/vnd.openxmlformats-officedocument.drawingml.chart+xml"/>
  <Override PartName="/ppt/tags/tag43.xml" ContentType="application/vnd.openxmlformats-officedocument.presentationml.tags+xml"/>
  <Override PartName="/ppt/charts/chart26.xml" ContentType="application/vnd.openxmlformats-officedocument.drawingml.chart+xml"/>
  <Override PartName="/ppt/tags/tag44.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5.xml" ContentType="application/vnd.openxmlformats-officedocument.presentationml.tags+xml"/>
  <Override PartName="/ppt/charts/chart31.xml" ContentType="application/vnd.openxmlformats-officedocument.drawingml.chart+xml"/>
  <Override PartName="/ppt/tags/tag46.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47.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8.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6"/>
  </p:notesMasterIdLst>
  <p:sldIdLst>
    <p:sldId id="2147475163" r:id="rId5"/>
    <p:sldId id="2147475164" r:id="rId6"/>
    <p:sldId id="2147475165" r:id="rId7"/>
    <p:sldId id="2147475166" r:id="rId8"/>
    <p:sldId id="2147475167" r:id="rId9"/>
    <p:sldId id="2147475168" r:id="rId10"/>
    <p:sldId id="2147475169" r:id="rId11"/>
    <p:sldId id="2147475170" r:id="rId12"/>
    <p:sldId id="2147475171" r:id="rId13"/>
    <p:sldId id="2147475172" r:id="rId14"/>
    <p:sldId id="2147475173" r:id="rId15"/>
    <p:sldId id="2147475174" r:id="rId16"/>
    <p:sldId id="2147475175" r:id="rId17"/>
    <p:sldId id="2147475176" r:id="rId18"/>
    <p:sldId id="2147475177" r:id="rId19"/>
    <p:sldId id="2147475178" r:id="rId20"/>
    <p:sldId id="2147475179" r:id="rId21"/>
    <p:sldId id="2147475180" r:id="rId22"/>
    <p:sldId id="2147475181" r:id="rId23"/>
    <p:sldId id="2147475182" r:id="rId24"/>
    <p:sldId id="2147475183"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ranking" id="{5436B270-0FBE-4C7D-BAE0-EAFC9F8D8CE0}">
          <p14:sldIdLst>
            <p14:sldId id="2147475163"/>
            <p14:sldId id="2147475164"/>
            <p14:sldId id="2147475165"/>
            <p14:sldId id="2147475166"/>
            <p14:sldId id="2147475167"/>
            <p14:sldId id="2147475168"/>
            <p14:sldId id="2147475169"/>
          </p14:sldIdLst>
        </p14:section>
        <p14:section name="Innovation potential" id="{B9C6FAE9-234C-4651-9BEB-0012F3D9AC67}">
          <p14:sldIdLst>
            <p14:sldId id="2147475170"/>
            <p14:sldId id="2147475171"/>
            <p14:sldId id="2147475172"/>
            <p14:sldId id="2147475173"/>
            <p14:sldId id="2147475174"/>
            <p14:sldId id="2147475175"/>
            <p14:sldId id="2147475176"/>
          </p14:sldIdLst>
        </p14:section>
        <p14:section name="Innovation sourcing" id="{92098D5F-4202-40CA-B1D0-DB140C290F03}">
          <p14:sldIdLst>
            <p14:sldId id="2147475177"/>
            <p14:sldId id="2147475178"/>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5/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5/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7.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31.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7.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7.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1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1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312378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02992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506507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865564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669119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1357002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28053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3339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691638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57621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96759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945728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2109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62906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153306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326169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092110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1572688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197178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201881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54138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727</Words>
  <Application>Microsoft Office PowerPoint</Application>
  <PresentationFormat>On-screen Show (16:9)</PresentationFormat>
  <Paragraphs>580</Paragraphs>
  <Slides>2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ptos</vt:lpstr>
      <vt:lpstr>Arial</vt:lpstr>
      <vt:lpstr>Nexa</vt:lpstr>
      <vt:lpstr>Nexa Bold</vt:lpstr>
      <vt:lpstr>Nexa Book</vt:lpstr>
      <vt:lpstr>Nexa Book Italic</vt:lpstr>
      <vt:lpstr>Open Sans</vt:lpstr>
      <vt:lpstr>PricingOne Light Template Oct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4</cp:revision>
  <dcterms:created xsi:type="dcterms:W3CDTF">2024-07-08T12:20:01Z</dcterms:created>
  <dcterms:modified xsi:type="dcterms:W3CDTF">2025-07-25T08:5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